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media/image32.jpg" ContentType="image/gif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50"/>
  </p:notesMasterIdLst>
  <p:handoutMasterIdLst>
    <p:handoutMasterId r:id="rId51"/>
  </p:handoutMasterIdLst>
  <p:sldIdLst>
    <p:sldId id="307" r:id="rId2"/>
    <p:sldId id="274" r:id="rId3"/>
    <p:sldId id="276" r:id="rId4"/>
    <p:sldId id="279" r:id="rId5"/>
    <p:sldId id="283" r:id="rId6"/>
    <p:sldId id="319" r:id="rId7"/>
    <p:sldId id="320" r:id="rId8"/>
    <p:sldId id="281" r:id="rId9"/>
    <p:sldId id="313" r:id="rId10"/>
    <p:sldId id="285" r:id="rId11"/>
    <p:sldId id="280" r:id="rId12"/>
    <p:sldId id="277" r:id="rId13"/>
    <p:sldId id="284" r:id="rId14"/>
    <p:sldId id="275" r:id="rId15"/>
    <p:sldId id="278" r:id="rId16"/>
    <p:sldId id="282" r:id="rId17"/>
    <p:sldId id="309" r:id="rId18"/>
    <p:sldId id="295" r:id="rId19"/>
    <p:sldId id="289" r:id="rId20"/>
    <p:sldId id="290" r:id="rId21"/>
    <p:sldId id="291" r:id="rId22"/>
    <p:sldId id="292" r:id="rId23"/>
    <p:sldId id="293" r:id="rId24"/>
    <p:sldId id="294" r:id="rId25"/>
    <p:sldId id="286" r:id="rId26"/>
    <p:sldId id="287" r:id="rId27"/>
    <p:sldId id="288" r:id="rId28"/>
    <p:sldId id="296" r:id="rId29"/>
    <p:sldId id="321" r:id="rId30"/>
    <p:sldId id="322" r:id="rId31"/>
    <p:sldId id="297" r:id="rId32"/>
    <p:sldId id="298" r:id="rId33"/>
    <p:sldId id="299" r:id="rId34"/>
    <p:sldId id="300" r:id="rId35"/>
    <p:sldId id="304" r:id="rId36"/>
    <p:sldId id="305" r:id="rId37"/>
    <p:sldId id="311" r:id="rId38"/>
    <p:sldId id="303" r:id="rId39"/>
    <p:sldId id="302" r:id="rId40"/>
    <p:sldId id="301" r:id="rId41"/>
    <p:sldId id="308" r:id="rId42"/>
    <p:sldId id="312" r:id="rId43"/>
    <p:sldId id="310" r:id="rId44"/>
    <p:sldId id="317" r:id="rId45"/>
    <p:sldId id="315" r:id="rId46"/>
    <p:sldId id="314" r:id="rId47"/>
    <p:sldId id="318" r:id="rId48"/>
    <p:sldId id="306" r:id="rId49"/>
  </p:sldIdLst>
  <p:sldSz cx="11522075" cy="6480175"/>
  <p:notesSz cx="6858000" cy="9144000"/>
  <p:custDataLst>
    <p:tags r:id="rId5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>
      <p:ext uri="{19B8F6BF-5375-455C-9EA6-DF929625EA0E}">
        <p15:presenceInfo xmlns:p15="http://schemas.microsoft.com/office/powerpoint/2012/main" userId="S-1-5-21-2562659868-2832382953-3754756864-1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E20074"/>
    <a:srgbClr val="E20000"/>
    <a:srgbClr val="992C99"/>
    <a:srgbClr val="4B4B4B"/>
    <a:srgbClr val="C4C4C4"/>
    <a:srgbClr val="00FFFF"/>
    <a:srgbClr val="E1E1E1"/>
    <a:srgbClr val="DEDEDE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97" autoAdjust="0"/>
    <p:restoredTop sz="94620" autoAdjust="0"/>
  </p:normalViewPr>
  <p:slideViewPr>
    <p:cSldViewPr snapToGrid="0" snapToObjects="1">
      <p:cViewPr varScale="1">
        <p:scale>
          <a:sx n="121" d="100"/>
          <a:sy n="121" d="100"/>
        </p:scale>
        <p:origin x="1068" y="9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31B8DFA5-5297-4A90-A936-B42D90409571}" type="datetimeFigureOut">
              <a:rPr lang="de-DE"/>
              <a:pPr/>
              <a:t>24.08.2017</a:t>
            </a:fld>
            <a:endParaRPr lang="de-DE"/>
          </a:p>
        </p:txBody>
      </p:sp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779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1258"/>
          <a:stretch>
            <a:fillRect/>
          </a:stretch>
        </p:blipFill>
        <p:spPr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27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6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29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8421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72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5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43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3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36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4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6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75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7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4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5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74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76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79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50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 descr="TKOM_39L_Grillen_7475.jpg"/>
          <p:cNvPicPr>
            <a:picLocks noChangeAspect="1"/>
          </p:cNvPicPr>
          <p:nvPr userDrawn="1"/>
        </p:nvPicPr>
        <p:blipFill>
          <a:blip r:embed="rId9"/>
          <a:srcRect b="15715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3200400"/>
            <a:ext cx="9886690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0924"/>
          <a:stretch>
            <a:fillRect/>
          </a:stretch>
        </p:blipFill>
        <p:spPr>
          <a:xfrm>
            <a:off x="493712" y="5482054"/>
            <a:ext cx="1309728" cy="500400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1258"/>
          <a:stretch>
            <a:fillRect/>
          </a:stretch>
        </p:blipFill>
        <p:spPr>
          <a:xfrm>
            <a:off x="9053129" y="5482054"/>
            <a:ext cx="1968882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Grafik 31" descr="TKOM_39L_Grillen_7475.jpg"/>
          <p:cNvPicPr>
            <a:picLocks noChangeAspect="1"/>
          </p:cNvPicPr>
          <p:nvPr userDrawn="1"/>
        </p:nvPicPr>
        <p:blipFill>
          <a:blip r:embed="rId6"/>
          <a:srcRect b="55841"/>
          <a:stretch>
            <a:fillRect/>
          </a:stretch>
        </p:blipFill>
        <p:spPr>
          <a:xfrm>
            <a:off x="324000" y="323999"/>
            <a:ext cx="10872000" cy="324000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9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537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15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916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1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0"/>
            <a:ext cx="11522075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4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/>
              <a:t>dd.mm.yyyy</a:t>
            </a:r>
            <a:endParaRPr lang="en-US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2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43306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68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0" name="Pictur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24000" y="5911200"/>
            <a:ext cx="2411348" cy="360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07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421" y="1500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97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007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421" y="1500"/>
                        <a:ext cx="15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dirty="0" err="1"/>
              <a:t>Funktionale</a:t>
            </a:r>
            <a:r>
              <a:rPr lang="en-US" dirty="0"/>
              <a:t> </a:t>
            </a:r>
            <a:r>
              <a:rPr lang="en-US" dirty="0" err="1"/>
              <a:t>programmierung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Vavr</a:t>
            </a:r>
            <a:r>
              <a:rPr lang="en-US" dirty="0"/>
              <a:t> und Resilience4j </a:t>
            </a:r>
            <a:endParaRPr lang="de-DE" dirty="0"/>
          </a:p>
        </p:txBody>
      </p:sp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>
          <a:xfrm>
            <a:off x="326231" y="2833805"/>
            <a:ext cx="7169474" cy="471604"/>
          </a:xfrm>
        </p:spPr>
        <p:txBody>
          <a:bodyPr/>
          <a:lstStyle/>
          <a:p>
            <a:r>
              <a:rPr lang="de-DE" sz="3200" dirty="0"/>
              <a:t>Robert Winkler</a:t>
            </a:r>
          </a:p>
        </p:txBody>
      </p:sp>
    </p:spTree>
    <p:extLst>
      <p:ext uri="{BB962C8B-B14F-4D97-AF65-F5344CB8AC3E}">
        <p14:creationId xmlns:p14="http://schemas.microsoft.com/office/powerpoint/2010/main" val="29799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PURE) Funktionen ohne Seiteneffekt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5" y="981075"/>
            <a:ext cx="5734049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e Variablen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ückgabew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 Variabl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Exceptio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eränderliche Parameter</a:t>
            </a:r>
            <a:endParaRPr lang="en-US" sz="2400" dirty="0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6881926" y="984688"/>
            <a:ext cx="4314073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nveränderliche Paramet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nveränderlicher Rückgabewer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2554" y="1785116"/>
            <a:ext cx="1952625" cy="233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9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erativ </a:t>
            </a:r>
            <a:r>
              <a:rPr lang="de-DE" dirty="0" err="1"/>
              <a:t>vs</a:t>
            </a:r>
            <a:r>
              <a:rPr lang="de-DE" dirty="0"/>
              <a:t> funktional: </a:t>
            </a:r>
            <a:r>
              <a:rPr lang="de-DE" dirty="0" err="1"/>
              <a:t>Sepe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NCERN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62125" y="871549"/>
            <a:ext cx="9562950" cy="344709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0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lt; 40</a:t>
            </a: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= null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.add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62125" y="4447260"/>
            <a:ext cx="9562950" cy="1138773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th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 -&gt;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b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40)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endParaRPr lang="de-DE" altLang="de-DE" sz="4000" dirty="0">
              <a:solidFill>
                <a:srgbClr val="92D05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persistente Datenstrukturen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10647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efert bei einer Änderung </a:t>
            </a:r>
            <a:r>
              <a:rPr lang="de-DE" dirty="0"/>
              <a:t>eine veränderte Kopie von sich selbst zurück liefert und behält ihren vorherigen Zustand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atenstrukturen </a:t>
            </a:r>
            <a:r>
              <a:rPr lang="de-DE" dirty="0"/>
              <a:t>können sie sich im Speicher vorgehaltene Werte teil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237" y="4973638"/>
            <a:ext cx="2476500" cy="81915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35" y="5002213"/>
            <a:ext cx="2476500" cy="381000"/>
          </a:xfrm>
          <a:prstGeom prst="rect">
            <a:avLst/>
          </a:prstGeom>
        </p:spPr>
      </p:pic>
      <p:sp>
        <p:nvSpPr>
          <p:cNvPr id="8" name="Pfeil: nach rechts 7"/>
          <p:cNvSpPr/>
          <p:nvPr/>
        </p:nvSpPr>
        <p:spPr bwMode="gray">
          <a:xfrm>
            <a:off x="4194494" y="4939271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62125" y="2905163"/>
            <a:ext cx="8410425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2 = list1.replace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7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ale PROGRAMMIERUNG mit JAVA 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16698"/>
          <a:stretch/>
        </p:blipFill>
        <p:spPr>
          <a:xfrm>
            <a:off x="5422741" y="1064741"/>
            <a:ext cx="5591334" cy="3516276"/>
          </a:xfrm>
          <a:prstGeom prst="rect">
            <a:avLst/>
          </a:prstGeom>
        </p:spPr>
      </p:pic>
      <p:sp>
        <p:nvSpPr>
          <p:cNvPr id="11" name="Freeform 8"/>
          <p:cNvSpPr>
            <a:spLocks/>
          </p:cNvSpPr>
          <p:nvPr/>
        </p:nvSpPr>
        <p:spPr bwMode="gray">
          <a:xfrm>
            <a:off x="238125" y="1064741"/>
            <a:ext cx="5429249" cy="448833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Java Collections API  voll mit Seiteneffekt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add</a:t>
            </a:r>
            <a:r>
              <a:rPr lang="de-DE" sz="2400" dirty="0"/>
              <a:t>(), </a:t>
            </a:r>
            <a:r>
              <a:rPr lang="de-DE" sz="2400" dirty="0" err="1"/>
              <a:t>remove</a:t>
            </a:r>
            <a:r>
              <a:rPr lang="de-DE" sz="2400" dirty="0"/>
              <a:t>(), </a:t>
            </a:r>
            <a:r>
              <a:rPr lang="de-DE" sz="2400" dirty="0" err="1"/>
              <a:t>clear</a:t>
            </a:r>
            <a:r>
              <a:rPr lang="de-DE" sz="2400" dirty="0"/>
              <a:t>(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drei neue Datenstrukturen (Optional, Stream, </a:t>
            </a:r>
            <a:r>
              <a:rPr lang="de-DE" sz="2400" dirty="0" err="1"/>
              <a:t>CompletableFut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funktionale Schnittstellen mit bis zu zwei Parametern (</a:t>
            </a:r>
            <a:r>
              <a:rPr lang="de-DE" sz="2400" dirty="0" err="1"/>
              <a:t>Function</a:t>
            </a:r>
            <a:r>
              <a:rPr lang="de-DE" sz="2400" dirty="0"/>
              <a:t>, </a:t>
            </a:r>
            <a:r>
              <a:rPr lang="de-DE" sz="2400" dirty="0" err="1"/>
              <a:t>BiFunction</a:t>
            </a:r>
            <a:r>
              <a:rPr lang="de-DE" sz="2400" dirty="0"/>
              <a:t>, …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hecked</a:t>
            </a:r>
            <a:r>
              <a:rPr lang="de-DE" sz="2400" dirty="0"/>
              <a:t> </a:t>
            </a:r>
            <a:r>
              <a:rPr lang="de-DE" sz="2400" dirty="0" err="1"/>
              <a:t>exceptions</a:t>
            </a:r>
            <a:r>
              <a:rPr lang="de-DE" sz="2400" dirty="0"/>
              <a:t> in Funktion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mständliche Collection-API: </a:t>
            </a:r>
            <a:r>
              <a:rPr lang="de-DE" dirty="0" err="1"/>
              <a:t>list.stream</a:t>
            </a:r>
            <a:r>
              <a:rPr lang="de-DE" dirty="0"/>
              <a:t>().</a:t>
            </a:r>
            <a:r>
              <a:rPr lang="de-DE" dirty="0" err="1"/>
              <a:t>map</a:t>
            </a:r>
            <a:r>
              <a:rPr lang="de-DE" dirty="0"/>
              <a:t>(...).</a:t>
            </a:r>
            <a:r>
              <a:rPr lang="de-DE" dirty="0" err="1"/>
              <a:t>collect</a:t>
            </a:r>
            <a:r>
              <a:rPr lang="de-DE" dirty="0"/>
              <a:t>(</a:t>
            </a:r>
            <a:r>
              <a:rPr lang="de-DE" dirty="0" err="1"/>
              <a:t>toList</a:t>
            </a:r>
            <a:r>
              <a:rPr lang="de-DE" dirty="0"/>
              <a:t>()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52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VASLANG IST nun VAV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887413"/>
            <a:ext cx="5830888" cy="19474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1" r="57406"/>
          <a:stretch/>
        </p:blipFill>
        <p:spPr>
          <a:xfrm rot="10800000">
            <a:off x="7886699" y="2573338"/>
            <a:ext cx="2743199" cy="2151022"/>
          </a:xfrm>
          <a:prstGeom prst="rect">
            <a:avLst/>
          </a:prstGeom>
        </p:spPr>
      </p:pic>
      <p:sp>
        <p:nvSpPr>
          <p:cNvPr id="5" name="Pfeil: nach rechts 4"/>
          <p:cNvSpPr/>
          <p:nvPr/>
        </p:nvSpPr>
        <p:spPr bwMode="gray">
          <a:xfrm rot="1982941">
            <a:off x="4540184" y="2740997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42297"/>
          <a:stretch/>
        </p:blipFill>
        <p:spPr>
          <a:xfrm rot="8605569">
            <a:off x="3895399" y="3433727"/>
            <a:ext cx="3716338" cy="2151022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7600950" y="2982099"/>
            <a:ext cx="2914650" cy="1333500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0497" y="412041"/>
            <a:ext cx="2910213" cy="2210859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942" y="1488436"/>
            <a:ext cx="2253712" cy="7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27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VAVR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ine Bibliothek die persistente Datenstrukturen und algebraische Datentypen für Java8 bereitstel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rientiert sich bei der Namensgebung an Scala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500" y="2693616"/>
            <a:ext cx="10696575" cy="251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1437906"/>
            <a:ext cx="10944075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und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…) sind nicht notwendi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String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.equal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2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Java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Arrays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Lis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oranges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All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23826" y="756000"/>
            <a:ext cx="10182224" cy="491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ie Datenstrukturen können beliebig konvertiert werd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79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94625" y="724746"/>
            <a:ext cx="11102025" cy="55861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9 Factory Methode zur Initialisierung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Map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.50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Option ist in die API integriert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.ge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1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Valu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.multiply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du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21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1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79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539" y="854074"/>
            <a:ext cx="4432840" cy="4809601"/>
          </a:xfrm>
          <a:prstGeom prst="rect">
            <a:avLst/>
          </a:prstGeom>
        </p:spPr>
      </p:pic>
      <p:sp>
        <p:nvSpPr>
          <p:cNvPr id="9" name="Sprechblase: oval 8"/>
          <p:cNvSpPr/>
          <p:nvPr/>
        </p:nvSpPr>
        <p:spPr bwMode="gray">
          <a:xfrm>
            <a:off x="6817917" y="1013592"/>
            <a:ext cx="3800159" cy="1373362"/>
          </a:xfrm>
          <a:prstGeom prst="wedgeEllipse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gray">
          <a:xfrm>
            <a:off x="7445031" y="1200916"/>
            <a:ext cx="2323771" cy="99757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sz="6600" dirty="0"/>
              <a:t>OMG!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0" y="2706196"/>
            <a:ext cx="177165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3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Algebraische Datentypen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rodukttypen: Enthalten in der Regel mehrere Werte, die Felder heiß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uple0…8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Summen- oder Variantentypen: Für jeden Typ gibt es nur eine fixe Anzahl an Variant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ry (</a:t>
            </a:r>
            <a:r>
              <a:rPr lang="de-DE" sz="2400" dirty="0" err="1"/>
              <a:t>Sucess</a:t>
            </a:r>
            <a:r>
              <a:rPr lang="de-DE" sz="2400" dirty="0"/>
              <a:t>, </a:t>
            </a:r>
            <a:r>
              <a:rPr lang="de-DE" sz="2400" dirty="0" err="1"/>
              <a:t>Fail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Either</a:t>
            </a:r>
            <a:r>
              <a:rPr lang="de-DE" sz="2400" dirty="0"/>
              <a:t> (</a:t>
            </a:r>
            <a:r>
              <a:rPr lang="de-DE" sz="2400" dirty="0" err="1"/>
              <a:t>Left</a:t>
            </a:r>
            <a:r>
              <a:rPr lang="de-DE" sz="2400" dirty="0"/>
              <a:t>, </a:t>
            </a:r>
            <a:r>
              <a:rPr lang="de-DE" sz="2400" dirty="0" err="1"/>
              <a:t>Right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ption (</a:t>
            </a:r>
            <a:r>
              <a:rPr lang="de-DE" sz="2400" dirty="0" err="1"/>
              <a:t>Some</a:t>
            </a:r>
            <a:r>
              <a:rPr lang="de-DE" sz="2400" dirty="0"/>
              <a:t>, None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8901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13" name="Freeform 8"/>
          <p:cNvSpPr>
            <a:spLocks/>
          </p:cNvSpPr>
          <p:nvPr/>
        </p:nvSpPr>
        <p:spPr bwMode="gray">
          <a:xfrm>
            <a:off x="2781300" y="759941"/>
            <a:ext cx="6291263" cy="3133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Software </a:t>
            </a:r>
            <a:r>
              <a:rPr lang="en-US" sz="2400" dirty="0" err="1"/>
              <a:t>Architekt</a:t>
            </a:r>
            <a:r>
              <a:rPr lang="en-US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Deutsche Telekom – Connected Home (</a:t>
            </a:r>
            <a:r>
              <a:rPr lang="en-US" sz="2400" dirty="0" err="1"/>
              <a:t>Qivicon</a:t>
            </a:r>
            <a:r>
              <a:rPr lang="en-US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Ersteller</a:t>
            </a:r>
            <a:r>
              <a:rPr lang="en-US" sz="2400" dirty="0"/>
              <a:t> von Swagger2Markup und Resilience4j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Vavr</a:t>
            </a:r>
            <a:r>
              <a:rPr lang="en-US" sz="2400" dirty="0"/>
              <a:t>- Contributo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Twitter: @</a:t>
            </a:r>
            <a:r>
              <a:rPr lang="en-US" sz="2400" dirty="0" err="1"/>
              <a:t>rbrtwnklr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GitHub: </a:t>
            </a:r>
            <a:r>
              <a:rPr lang="en-US" sz="2400" dirty="0" err="1"/>
              <a:t>RobWin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5" y="756000"/>
            <a:ext cx="2169042" cy="468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UPLES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5" y="753941"/>
            <a:ext cx="9753599" cy="86530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/>
              <a:t>Es gibt </a:t>
            </a:r>
            <a:r>
              <a:rPr lang="de-DE" sz="2400" dirty="0" err="1"/>
              <a:t>Tuple</a:t>
            </a:r>
            <a:r>
              <a:rPr lang="de-DE" sz="2400" dirty="0"/>
              <a:t> mit bis zu 8 Felder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 err="1"/>
              <a:t>Tuples</a:t>
            </a:r>
            <a:r>
              <a:rPr lang="de-DE" sz="2400" dirty="0"/>
              <a:t> sind praktisch, wenn eine Funktion mehr als einen Rückgabewert hat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66726" y="2059676"/>
            <a:ext cx="8801100" cy="317009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Java, 8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java8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Java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1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vavr1 = java8.map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s -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.substring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+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 -&gt; i /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r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eine Berechnung, die entweder erfolgreich durchgeführt (</a:t>
            </a:r>
            <a:r>
              <a:rPr lang="de-DE" altLang="de-DE" sz="2400" dirty="0" err="1"/>
              <a:t>Success</a:t>
            </a:r>
            <a:r>
              <a:rPr lang="de-DE" altLang="de-DE" sz="2400" dirty="0"/>
              <a:t>) oder mit einem Fehler beendet wurde (</a:t>
            </a:r>
            <a:r>
              <a:rPr lang="de-DE" altLang="de-DE" sz="2400" dirty="0" err="1"/>
              <a:t>Failure</a:t>
            </a:r>
            <a:r>
              <a:rPr lang="de-DE" altLang="de-DE" sz="2400" dirty="0"/>
              <a:t>)</a:t>
            </a:r>
            <a:endParaRPr lang="en-US" sz="24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24000" y="1715393"/>
            <a:ext cx="106202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Service Interface mit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eck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siness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JUG Darmstadt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und allen andere JUGs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Failur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ndled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sinessException.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auch weg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324001" y="4762001"/>
            <a:ext cx="10620224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25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EITHER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 aus zwei möglichen Typ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ignet sich als </a:t>
            </a:r>
            <a:r>
              <a:rPr lang="de-DE" dirty="0" err="1"/>
              <a:t>entweder-oder</a:t>
            </a:r>
            <a:r>
              <a:rPr lang="de-DE" dirty="0"/>
              <a:t> Rückgabewert (</a:t>
            </a:r>
            <a:r>
              <a:rPr lang="de-DE" dirty="0" err="1"/>
              <a:t>Right</a:t>
            </a:r>
            <a:r>
              <a:rPr lang="de-DE" dirty="0"/>
              <a:t> oder </a:t>
            </a:r>
            <a:r>
              <a:rPr lang="de-DE" dirty="0" err="1"/>
              <a:t>Left</a:t>
            </a:r>
            <a:r>
              <a:rPr lang="de-DE" dirty="0"/>
              <a:t>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Kann auch als Alternative für Option und Try verwendet werden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Right</a:t>
            </a:r>
            <a:r>
              <a:rPr lang="de-DE" altLang="de-DE" dirty="0"/>
              <a:t> vergleichbar mit </a:t>
            </a:r>
            <a:r>
              <a:rPr lang="de-DE" altLang="de-DE" dirty="0" err="1"/>
              <a:t>Some</a:t>
            </a:r>
            <a:r>
              <a:rPr lang="de-DE" altLang="de-DE" dirty="0"/>
              <a:t> oder </a:t>
            </a:r>
            <a:r>
              <a:rPr lang="de-DE" altLang="de-DE" dirty="0" err="1"/>
              <a:t>Success</a:t>
            </a:r>
            <a:r>
              <a:rPr lang="de-DE" altLang="de-DE" dirty="0"/>
              <a:t> 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Left</a:t>
            </a:r>
            <a:r>
              <a:rPr lang="de-DE" altLang="de-DE" dirty="0"/>
              <a:t> vergleichbar mit None oder </a:t>
            </a:r>
            <a:r>
              <a:rPr lang="de-DE" altLang="de-DE" dirty="0" err="1"/>
              <a:t>Failure</a:t>
            </a:r>
            <a:r>
              <a:rPr lang="de-DE" altLang="de-DE" dirty="0"/>
              <a:t> 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1950" y="2971800"/>
            <a:ext cx="105821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WORLD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1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Optio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</a:t>
            </a:r>
            <a:r>
              <a:rPr lang="de-DE" dirty="0"/>
              <a:t>einen optionalen Wert (</a:t>
            </a:r>
            <a:r>
              <a:rPr lang="de-DE" dirty="0" err="1"/>
              <a:t>Some</a:t>
            </a:r>
            <a:r>
              <a:rPr lang="de-DE" dirty="0"/>
              <a:t> oder None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Hat mehr Operatoren als Java 8‘s Optional und ist </a:t>
            </a:r>
            <a:r>
              <a:rPr lang="de-DE" dirty="0" err="1"/>
              <a:t>serialisierbar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in andere Datentypen wie Try oder </a:t>
            </a:r>
            <a:r>
              <a:rPr lang="de-DE" dirty="0" err="1"/>
              <a:t>Either</a:t>
            </a:r>
            <a:r>
              <a:rPr lang="de-DE" dirty="0"/>
              <a:t> konvertiert werden 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24000" y="2895867"/>
            <a:ext cx="9725025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ek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Value: {}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35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Laz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, der unter Umständen noch nicht berechnet wurd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Die Berechnung ist thread-saf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man mit einem </a:t>
            </a:r>
            <a:r>
              <a:rPr lang="de-DE" dirty="0" err="1"/>
              <a:t>Supplier</a:t>
            </a:r>
            <a:r>
              <a:rPr lang="de-DE" dirty="0"/>
              <a:t> vergleichen, hat aber einen wesentlichen Unterschied: Der berechnete Wert wird </a:t>
            </a:r>
            <a:r>
              <a:rPr lang="de-DE" dirty="0" err="1"/>
              <a:t>gecached</a:t>
            </a:r>
            <a:endParaRPr lang="de-DE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73625" y="2808653"/>
            <a:ext cx="10572750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4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</a:t>
            </a:r>
            <a:r>
              <a:rPr lang="de-DE" dirty="0" err="1"/>
              <a:t>Currying</a:t>
            </a: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die partielle Anwendung einer Funktion durch das Umwandeln einer Funktion mit N Argumenten in eine modifizierte Funktion mit N-1 Argument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Funktion mit zwei Argumenten f: A1 x A2 → B wird in eine modifizierte Funktion mit einem Argument f’: A1 → (A2 → B) umgewande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as Festsetzen von einem oder mehreren Parametern erfolgt von links nach rechts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44962" y="3197614"/>
            <a:ext cx="10486551" cy="178510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+ b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Parameter a wird mit 2 festgesetzt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add2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.curri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dd2.apply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33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</a:t>
            </a:r>
            <a:r>
              <a:rPr lang="de-DE" dirty="0" err="1"/>
              <a:t>Memoizatio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1029698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eine Methode nur beim ersten Aufruf ausgeführt wird und bei weiteren Aufrufen der gespeicherte Wert zurückgeliefert wird</a:t>
            </a: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28600" y="2127868"/>
            <a:ext cx="10968038" cy="246221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0&lt;Double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	Function0.</a:t>
            </a:r>
            <a:r>
              <a:rPr kumimoji="0" lang="de-DE" altLang="de-DE" sz="22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moiz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1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2 =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chedRandom.appl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1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2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77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Functions</a:t>
            </a:r>
            <a:r>
              <a:rPr lang="de-DE" dirty="0"/>
              <a:t> - Lift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 </a:t>
            </a:r>
            <a:r>
              <a:rPr lang="de-DE" altLang="de-DE" dirty="0"/>
              <a:t>eine partielle Funktion in eine totale Funktion umzuwandeln, die den Datentyp Option zurück gibt. 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von X nach Y ist eine Funktion f: X' → Y, wobei X' eine Teilmenge von X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funktioniert nur für einen Teil der Eingabewerte korrekt und wirft bei einer ungültigen Eingabe einen Fehler</a:t>
            </a:r>
            <a:endParaRPr lang="de-DE" alt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324000" y="3293623"/>
            <a:ext cx="10839449" cy="301621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/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</a:t>
            </a:r>
            <a:r>
              <a:rPr kumimoji="0" lang="de-DE" altLang="de-DE" sz="20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resul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sult11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result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sult2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m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</a:p>
        </p:txBody>
      </p:sp>
    </p:spTree>
    <p:extLst>
      <p:ext uri="{BB962C8B-B14F-4D97-AF65-F5344CB8AC3E}">
        <p14:creationId xmlns:p14="http://schemas.microsoft.com/office/powerpoint/2010/main" val="161321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Pattern </a:t>
            </a:r>
            <a:r>
              <a:rPr lang="de-DE" dirty="0" err="1"/>
              <a:t>Matching</a:t>
            </a:r>
            <a:r>
              <a:rPr lang="de-DE" dirty="0"/>
              <a:t> erlaubt einen Wert gegen Patterns zu prüf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Mächtige Alternative zu </a:t>
            </a:r>
            <a:r>
              <a:rPr lang="de-DE" dirty="0" err="1"/>
              <a:t>Java‘s</a:t>
            </a:r>
            <a:r>
              <a:rPr lang="de-DE" dirty="0"/>
              <a:t> Switch </a:t>
            </a:r>
            <a:r>
              <a:rPr lang="de-DE" dirty="0" err="1"/>
              <a:t>statement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) - Wildcard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value</a:t>
            </a:r>
            <a:r>
              <a:rPr lang="de-DE" altLang="de-DE" dirty="0"/>
              <a:t>) - </a:t>
            </a:r>
            <a:r>
              <a:rPr lang="de-DE" altLang="de-DE" dirty="0" err="1"/>
              <a:t>Equals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predicate</a:t>
            </a:r>
            <a:r>
              <a:rPr lang="de-DE" altLang="de-DE" dirty="0"/>
              <a:t>) - </a:t>
            </a:r>
            <a:r>
              <a:rPr lang="de-DE" altLang="de-DE" dirty="0" err="1"/>
              <a:t>Conditional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22275" y="2916465"/>
            <a:ext cx="10287000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ternMatch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nteger i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2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d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3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y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ne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4 oder weder (5 oder 6)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 Case($(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.class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„Ist eine Zahl"</a:t>
            </a:r>
            <a:r>
              <a:rPr lang="de-DE" altLang="de-DE" sz="20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?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6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2583"/>
            <a:ext cx="8834438" cy="412328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VAVR ermöglicht das </a:t>
            </a:r>
            <a:r>
              <a:rPr lang="de-DE" dirty="0" err="1"/>
              <a:t>destrukturieren</a:t>
            </a:r>
            <a:r>
              <a:rPr lang="de-DE" dirty="0"/>
              <a:t> von Objekten 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78547" y="1305785"/>
            <a:ext cx="11018091" cy="3139321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d01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e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= 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ll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{	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			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22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177909" y="4854017"/>
            <a:ext cx="11018091" cy="144655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Case($User(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lang="de-DE" altLang="de-DE" sz="22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getId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)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87368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macht Funktionale </a:t>
            </a:r>
            <a:r>
              <a:rPr lang="de-DE" dirty="0" err="1"/>
              <a:t>programmierung</a:t>
            </a:r>
            <a:r>
              <a:rPr lang="de-DE" dirty="0"/>
              <a:t> au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 “</a:t>
            </a:r>
            <a:r>
              <a:rPr lang="de-DE" sz="2400" dirty="0"/>
              <a:t>first-class </a:t>
            </a:r>
            <a:r>
              <a:rPr lang="de-DE" sz="2400" dirty="0" err="1"/>
              <a:t>citizen</a:t>
            </a:r>
            <a:r>
              <a:rPr lang="en-US" sz="2400" dirty="0"/>
              <a:t>”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de-DE" sz="2400" dirty="0"/>
              <a:t> können Variable zugewies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höherer Ordnung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werd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ohne Seiteneffekte (Referentielle Transparenz)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Komposition von Funktionen (</a:t>
            </a:r>
            <a:r>
              <a:rPr lang="de-DE" sz="2400" dirty="0" err="1"/>
              <a:t>Seper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Concerns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ersistente (unveränderliche) Datenstruktur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lgebraische Datentypen (Summen- und Produkt-Typen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5771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2583"/>
            <a:ext cx="8834438" cy="412328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Annotation Prozessor um </a:t>
            </a:r>
            <a:r>
              <a:rPr lang="de-DE" dirty="0" err="1"/>
              <a:t>Destructor</a:t>
            </a:r>
            <a:r>
              <a:rPr lang="de-DE" dirty="0"/>
              <a:t> zu generieren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altLang="de-DE" dirty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504496" y="2102576"/>
            <a:ext cx="10139314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Patterns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tructo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napply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BBB52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Id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27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silience4j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5"/>
            <a:ext cx="8834438" cy="4889041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leichtgewichtige Fehlertoleranz-Bibliothek, die von </a:t>
            </a:r>
            <a:r>
              <a:rPr lang="de-DE" dirty="0" err="1"/>
              <a:t>Netflix</a:t>
            </a:r>
            <a:r>
              <a:rPr lang="de-DE" dirty="0"/>
              <a:t> </a:t>
            </a:r>
            <a:r>
              <a:rPr lang="de-DE" dirty="0" err="1"/>
              <a:t>Hystrix</a:t>
            </a:r>
            <a:r>
              <a:rPr lang="de-DE" dirty="0"/>
              <a:t> inspiriert wurde, aber speziell für funktionale Programmierung konzipiert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tellt Funktionen höherer Ordnung bereit, mit denen funktionale Schnittstellen, Lambda Ausdrücke und Methoden-Referenzen um Funktionalität erweitert werden können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ircuitBreaker</a:t>
            </a:r>
            <a:r>
              <a:rPr lang="de-DE" sz="2400" dirty="0"/>
              <a:t>: Schützt Funktionen mit einer „Sicherung“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ateLimiter</a:t>
            </a:r>
            <a:r>
              <a:rPr lang="de-DE" sz="2400" dirty="0"/>
              <a:t>: Limitiert die </a:t>
            </a:r>
            <a:r>
              <a:rPr lang="de-DE" dirty="0"/>
              <a:t>Rate von Funktionsaufrufen 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etry</a:t>
            </a:r>
            <a:r>
              <a:rPr lang="de-DE" sz="2400" dirty="0"/>
              <a:t>: Wiederholt </a:t>
            </a:r>
            <a:r>
              <a:rPr lang="de-DE" dirty="0"/>
              <a:t>fehlgeschlagene </a:t>
            </a:r>
            <a:r>
              <a:rPr lang="de-DE" dirty="0"/>
              <a:t>Funktionsaufrufe</a:t>
            </a:r>
            <a:r>
              <a:rPr lang="de-DE" dirty="0"/>
              <a:t> automatisch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BulkHead</a:t>
            </a:r>
            <a:r>
              <a:rPr lang="de-DE" sz="2400" dirty="0"/>
              <a:t>: Limitiert die Anzahl gleichzeitiger Funktions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Cache: Speichert Funktionsergebnisse in einem </a:t>
            </a:r>
            <a:r>
              <a:rPr lang="de-DE" sz="2400" dirty="0" err="1"/>
              <a:t>JCache</a:t>
            </a:r>
            <a:r>
              <a:rPr lang="de-DE" sz="2400" dirty="0"/>
              <a:t> Provid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r</a:t>
            </a:r>
            <a:r>
              <a:rPr lang="de-DE" sz="2400" dirty="0"/>
              <a:t>: Misst Metriken von Funktionsaufrufen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Limiter</a:t>
            </a:r>
            <a:r>
              <a:rPr lang="de-DE" sz="2400" dirty="0"/>
              <a:t>: Limitiert die Laufzeit von Funktionen</a:t>
            </a:r>
          </a:p>
          <a:p>
            <a:pPr lvl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525" y="3937093"/>
            <a:ext cx="2114550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08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632" y="959966"/>
            <a:ext cx="1699048" cy="169904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7665" y="2751293"/>
            <a:ext cx="5257206" cy="2023901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238126" y="870101"/>
            <a:ext cx="5759450" cy="39658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Zustandsmaschine mit drei Zuständen: CLOSED, OPEN, HALF_OP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ierbarer Schwellwert für die Fehlerrat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eine konfigurierbare Anzahl von Testaufrufen im HALF_OPEN Zustand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eichert den Status von Funktionsaufrufen in zwei Bit Ring </a:t>
            </a:r>
            <a:r>
              <a:rPr lang="de-DE" dirty="0" err="1"/>
              <a:t>Buff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rray mit 16 </a:t>
            </a:r>
            <a:r>
              <a:rPr lang="de-DE" dirty="0" err="1"/>
              <a:t>long</a:t>
            </a:r>
            <a:r>
              <a:rPr lang="de-DE" dirty="0"/>
              <a:t> (64-bit) Werten kann den Status von 1024 Aufrufen speicher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ein rollendes Zeitfenste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680" y="4835930"/>
            <a:ext cx="1040884" cy="1040884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558171" y="454669"/>
            <a:ext cx="1233396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00 Aufruf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8031680" y="5937550"/>
            <a:ext cx="104984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 Aufruf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476836" y="2362275"/>
            <a:ext cx="3045239" cy="296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altLang="de-DE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uitBreakerOpenException</a:t>
            </a:r>
            <a:endParaRPr lang="de-DE" sz="1400" b="1" dirty="0">
              <a:latin typeface="Courier New" panose="02070309020205020404" pitchFamily="49" charset="0"/>
              <a:ea typeface="Swagger" pitchFamily="2" charset="0"/>
              <a:cs typeface="Courier New" panose="02070309020205020404" pitchFamily="49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677501" y="1890510"/>
            <a:ext cx="1013786" cy="249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200" b="1" dirty="0">
                <a:ea typeface="Swagger" pitchFamily="2" charset="0"/>
              </a:rPr>
              <a:t>Fehlerrate 50%</a:t>
            </a:r>
          </a:p>
        </p:txBody>
      </p:sp>
    </p:spTree>
    <p:extLst>
      <p:ext uri="{BB962C8B-B14F-4D97-AF65-F5344CB8AC3E}">
        <p14:creationId xmlns:p14="http://schemas.microsoft.com/office/powerpoint/2010/main" val="183823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97325" y="730693"/>
            <a:ext cx="11125349" cy="564770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DurationInOpenStat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rdFailur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ebApplicationException.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		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.getRespon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Statu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lang="de-DE" altLang="de-DE" sz="1900" i="1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NAL_SERVER_ERRO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19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		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0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FUNKTION höherer ORDNU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4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38125" y="870101"/>
            <a:ext cx="9791699" cy="431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24000" y="874228"/>
            <a:ext cx="10436380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Utils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CallPermitte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call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Succes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9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METRIC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5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75887" y="1921316"/>
            <a:ext cx="11168226" cy="440120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Default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cb1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name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b2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„name2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Metric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cb1.getMetrics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FailureRat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Buffer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NotPermittedCal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erAll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Metrics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CircuitBreakerRegis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38126" y="870102"/>
            <a:ext cx="11077574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für ein Monitoring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triken können mit Hilfe von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oder Prometheus exportiert werden</a:t>
            </a:r>
          </a:p>
        </p:txBody>
      </p:sp>
    </p:spTree>
    <p:extLst>
      <p:ext uri="{BB962C8B-B14F-4D97-AF65-F5344CB8AC3E}">
        <p14:creationId xmlns:p14="http://schemas.microsoft.com/office/powerpoint/2010/main" val="9103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26123" y="713691"/>
            <a:ext cx="11248697" cy="506292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Event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ndler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ucce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rro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tateTransi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info(…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activ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xJava2Adapter.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Fl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.getEventTyp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ype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RRO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nErrorEvent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bscrib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	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</a:t>
            </a:r>
            <a:r>
              <a:rPr lang="de-DE" altLang="de-DE" sz="19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Event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.getBufferedEvents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9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75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RXjava2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3108884"/>
            <a:ext cx="10507513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servable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hodWhichRetur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methodWhichRetur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Uni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perato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879826"/>
            <a:ext cx="9610724" cy="4822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s gibt RxJava2 Operatoren für Observable, </a:t>
            </a:r>
            <a:r>
              <a:rPr lang="de-DE" dirty="0" err="1"/>
              <a:t>Flowable</a:t>
            </a:r>
            <a:r>
              <a:rPr lang="de-DE" dirty="0"/>
              <a:t> und Single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CircuitBreak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ateLimit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etry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039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RETRY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8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1086090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38126" y="1498511"/>
            <a:ext cx="11097281" cy="477053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Attempt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aitDura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9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.</a:t>
            </a:r>
            <a:r>
              <a:rPr lang="de-DE" altLang="de-DE" sz="19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ExponentialBackoff</a:t>
            </a: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OnExcep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I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38126" y="741298"/>
            <a:ext cx="9004068" cy="4124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000" dirty="0"/>
              <a:t>Wiederholt fehlgeschlagene Aufrufe und erhöht die Wartezeit zwischen Aufrufen exponentiel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4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9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0" y="2067346"/>
            <a:ext cx="7810499" cy="412679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238125" y="766881"/>
            <a:ext cx="10191750" cy="1289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mitiert die </a:t>
            </a:r>
            <a:r>
              <a:rPr lang="de-DE" dirty="0"/>
              <a:t>Rate von Funktionsaufruf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Zeit wird in Zyklen eingeteilt. Jeder Zyklus hat eine konfigurierbare Dauer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Jeder Zyklus erlaubt eine konfigurierbare Anzahl von Funktionsaufrufen</a:t>
            </a:r>
          </a:p>
        </p:txBody>
      </p:sp>
    </p:spTree>
    <p:extLst>
      <p:ext uri="{BB962C8B-B14F-4D97-AF65-F5344CB8AC3E}">
        <p14:creationId xmlns:p14="http://schemas.microsoft.com/office/powerpoint/2010/main" val="184257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osition von FUNKTION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miteinander verkettet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urch Anwendung einer Funktion auf dem Resultat einer anderen Funktion entsteht eine neue Funktion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Funktionen f: X → Y und g: Y → Z können zu einer Funktion h: g(f(x)) verkettet werden mit h: X → Z.</a:t>
            </a:r>
            <a:r>
              <a:rPr lang="de-DE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47675" y="3014097"/>
            <a:ext cx="10566400" cy="267765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+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*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plusOneAndMultiplyBy2 =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.and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plusOneAndMultiplyBy2.apply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48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0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98451" y="1575674"/>
            <a:ext cx="10997542" cy="477053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Duratio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RefreshPerio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ForPerio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9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.isSucce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isFailur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questNotPermitted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24000" y="756000"/>
            <a:ext cx="4674036" cy="4764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rlaubt 1 Funktionsaufruf pro Sekun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78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BULKHEAD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1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37487" y="1795474"/>
            <a:ext cx="10958513" cy="389337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WaitTim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Concurrent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r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FullException.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38125" y="758999"/>
            <a:ext cx="10191750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Limitiert die Anzahl gleichzeitiger Funktionsaufruf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Funktionsaufrufe entweder warten oder mit einem Fehler abbrechen</a:t>
            </a:r>
          </a:p>
        </p:txBody>
      </p:sp>
    </p:spTree>
    <p:extLst>
      <p:ext uri="{BB962C8B-B14F-4D97-AF65-F5344CB8AC3E}">
        <p14:creationId xmlns:p14="http://schemas.microsoft.com/office/powerpoint/2010/main" val="253834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TIM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2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38124" y="2727132"/>
            <a:ext cx="11026337" cy="360098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ckend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9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getMetric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ta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Tota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anRat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MeanRat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ponseTimePercentile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9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Snapshot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get95thPercentile()</a:t>
            </a:r>
            <a:r>
              <a:rPr kumimoji="0" lang="de-DE" altLang="de-DE" sz="19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8125" y="758999"/>
            <a:ext cx="10191750" cy="1680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Integration mit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wie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zahl erfolgreicher und fehlgeschlagener 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twortzeit und Aufrufrate</a:t>
            </a:r>
          </a:p>
        </p:txBody>
      </p:sp>
    </p:spTree>
    <p:extLst>
      <p:ext uri="{BB962C8B-B14F-4D97-AF65-F5344CB8AC3E}">
        <p14:creationId xmlns:p14="http://schemas.microsoft.com/office/powerpoint/2010/main" val="92107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ring Boot Star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ation mittels Spring Boot </a:t>
            </a:r>
            <a:r>
              <a:rPr lang="de-DE" dirty="0" err="1"/>
              <a:t>Config</a:t>
            </a:r>
            <a:r>
              <a:rPr lang="de-DE" dirty="0"/>
              <a:t>-Datei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notationen für </a:t>
            </a:r>
            <a:r>
              <a:rPr lang="de-DE" dirty="0" err="1"/>
              <a:t>CircuitBreaker</a:t>
            </a:r>
            <a:r>
              <a:rPr lang="de-DE" dirty="0"/>
              <a:t> und </a:t>
            </a:r>
            <a:r>
              <a:rPr lang="de-DE" dirty="0" err="1"/>
              <a:t>RateLimit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eue </a:t>
            </a:r>
            <a:r>
              <a:rPr lang="de-DE" sz="2400" dirty="0" err="1"/>
              <a:t>HealthIndicator</a:t>
            </a:r>
            <a:r>
              <a:rPr lang="de-DE" sz="2400" dirty="0"/>
              <a:t> für </a:t>
            </a:r>
            <a:r>
              <a:rPr lang="de-DE" sz="2400" dirty="0" err="1"/>
              <a:t>CircuitBreaker</a:t>
            </a:r>
            <a:r>
              <a:rPr lang="de-DE" sz="2400" dirty="0"/>
              <a:t> und </a:t>
            </a:r>
            <a:r>
              <a:rPr lang="de-DE" sz="2400" dirty="0" err="1"/>
              <a:t>RateLimiter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vents werden über ein neuen </a:t>
            </a:r>
            <a:r>
              <a:rPr lang="de-DE" sz="2400" dirty="0" err="1"/>
              <a:t>Actuator</a:t>
            </a:r>
            <a:r>
              <a:rPr lang="de-DE" sz="2400" dirty="0"/>
              <a:t> Endpoints veröffentlich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Metriken werden über den </a:t>
            </a:r>
            <a:r>
              <a:rPr lang="de-DE" sz="2400" dirty="0" err="1"/>
              <a:t>Actuator</a:t>
            </a:r>
            <a:r>
              <a:rPr lang="de-DE" sz="2400" dirty="0"/>
              <a:t> </a:t>
            </a:r>
            <a:r>
              <a:rPr lang="de-DE" sz="2400" dirty="0" err="1"/>
              <a:t>Metrics</a:t>
            </a:r>
            <a:r>
              <a:rPr lang="de-DE" sz="2400" dirty="0"/>
              <a:t> veröffentlicht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65126" y="3890486"/>
            <a:ext cx="10560050" cy="147732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backend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nector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...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8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CONFIGUR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4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06390" y="1108411"/>
            <a:ext cx="10907219" cy="353943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ilience4j.circuitbreaker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s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b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Closed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SizeInHalfOpenStat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Interval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0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1600" b="1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entConsumerBufferSize</a:t>
            </a:r>
            <a:r>
              <a:rPr lang="de-DE" altLang="de-DE" sz="1600" b="1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92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</a:t>
            </a:r>
            <a:r>
              <a:rPr lang="de-DE" dirty="0" err="1"/>
              <a:t>Healt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5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88781" y="1083324"/>
            <a:ext cx="10907219" cy="526297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OWN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6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P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50.0%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x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2143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METRIK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6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4000" y="1284801"/>
            <a:ext cx="10907219" cy="304698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A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successful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fail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buffered_max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silience4j.circuitbreaker.backendB.not_permitted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85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 –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7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29407" y="1003338"/>
            <a:ext cx="1090721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UCCESS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39:20.518+01:00[Europe/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Na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ckendB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ype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ERROR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ionTim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2017-01-10T15:41:31.159+01:00[Europe/Berlin]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Message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g.springframework.web.client.HttpServerError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500 This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 remote </a:t>
            </a:r>
            <a:r>
              <a:rPr lang="de-DE" altLang="de-DE" sz="16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InMs</a:t>
            </a:r>
            <a:r>
              <a:rPr lang="de-DE" altLang="de-DE" sz="16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16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altLang="de-DE" sz="16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b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]</a:t>
            </a:r>
            <a:b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6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3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2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8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390571" y="291662"/>
            <a:ext cx="4623620" cy="1487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9600" dirty="0">
                <a:ea typeface="Swagger" pitchFamily="2" charset="0"/>
              </a:rPr>
              <a:t>FRAGEN?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b="7610"/>
          <a:stretch/>
        </p:blipFill>
        <p:spPr>
          <a:xfrm>
            <a:off x="1537139" y="1697759"/>
            <a:ext cx="7803930" cy="446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31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742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76855" y="748888"/>
            <a:ext cx="10409690" cy="122898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und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atterns: Execute-</a:t>
            </a:r>
            <a:r>
              <a:rPr lang="de-DE" sz="2400" dirty="0" err="1"/>
              <a:t>Around</a:t>
            </a:r>
            <a:r>
              <a:rPr lang="de-DE" sz="2400" dirty="0"/>
              <a:t>, </a:t>
            </a:r>
            <a:r>
              <a:rPr lang="de-DE" sz="2400" dirty="0" err="1"/>
              <a:t>Deferred</a:t>
            </a:r>
            <a:r>
              <a:rPr lang="de-DE" sz="2400" dirty="0"/>
              <a:t> </a:t>
            </a:r>
            <a:r>
              <a:rPr lang="de-DE" sz="2400" dirty="0" err="1"/>
              <a:t>Execution</a:t>
            </a:r>
            <a:r>
              <a:rPr lang="de-DE" sz="2400" dirty="0"/>
              <a:t>, </a:t>
            </a:r>
            <a:r>
              <a:rPr lang="de-DE" sz="2400" dirty="0" err="1"/>
              <a:t>Decorator</a:t>
            </a:r>
            <a:r>
              <a:rPr lang="de-DE" sz="2400" dirty="0"/>
              <a:t>, </a:t>
            </a:r>
            <a:r>
              <a:rPr lang="de-DE" sz="2400" dirty="0" err="1"/>
              <a:t>Strategy</a:t>
            </a:r>
            <a:r>
              <a:rPr lang="de-DE" sz="2400" dirty="0"/>
              <a:t>, Template </a:t>
            </a:r>
            <a:r>
              <a:rPr lang="de-DE" sz="2400" dirty="0" err="1"/>
              <a:t>Method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850770"/>
            <a:ext cx="1101432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Consumer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pplie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>
                <a:solidFill>
                  <a:srgbClr val="50787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.call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ex)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Handler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ccep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Function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ge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altLang="de-DE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33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298660"/>
            <a:ext cx="11014329" cy="378565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    	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ex -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llo an alle JUGs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de-DE" altLang="de-DE" sz="24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4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result2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Frankfur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2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63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52835" y="1405278"/>
            <a:ext cx="11014329" cy="412420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edFunction0&lt;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) -&gt; </a:t>
            </a:r>
            <a:r>
              <a:rPr lang="de-DE" altLang="de-DE" sz="2400" dirty="0" err="1">
                <a:solidFill>
                  <a:srgbClr val="B389C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JUG Darmstadt"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0&lt;String&gt;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.recover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 -&gt; {</a:t>
            </a:r>
            <a:b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Exception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x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4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lang="de-DE" altLang="de-DE" sz="24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llo an alle JUGs"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r>
              <a:rPr lang="de-DE" altLang="de-DE" sz="24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400" dirty="0"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4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WithRecovery.apply</a:t>
            </a:r>
            <a:r>
              <a:rPr lang="de-DE" altLang="de-DE" sz="24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altLang="de-DE" sz="2400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200" dirty="0">
              <a:latin typeface="Arial" panose="020B0604020202020204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2834" y="756000"/>
            <a:ext cx="10341593" cy="431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AVR hat </a:t>
            </a:r>
            <a:r>
              <a:rPr lang="de-DE" dirty="0" err="1"/>
              <a:t>recovery</a:t>
            </a:r>
            <a:r>
              <a:rPr lang="de-DE" dirty="0"/>
              <a:t> mit eingebaut</a:t>
            </a:r>
          </a:p>
        </p:txBody>
      </p:sp>
    </p:spTree>
    <p:extLst>
      <p:ext uri="{BB962C8B-B14F-4D97-AF65-F5344CB8AC3E}">
        <p14:creationId xmlns:p14="http://schemas.microsoft.com/office/powerpoint/2010/main" val="301063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ferentielle Transparenz?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154576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er Aufruf </a:t>
            </a:r>
            <a:r>
              <a:rPr lang="de-DE" sz="2400" dirty="0"/>
              <a:t>einer Funktion mit den selben Parametern liefert stets dasselbe Ergebnis, ist also unabhängig vom Kontex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</a:t>
            </a:r>
            <a:r>
              <a:rPr lang="en-US" sz="2400" dirty="0"/>
              <a:t> hat </a:t>
            </a:r>
            <a:r>
              <a:rPr lang="en-US" sz="2400" dirty="0" err="1"/>
              <a:t>keine</a:t>
            </a:r>
            <a:r>
              <a:rPr lang="en-US" sz="2400" dirty="0"/>
              <a:t> </a:t>
            </a:r>
            <a:r>
              <a:rPr lang="en-US" sz="2400" dirty="0" err="1"/>
              <a:t>Seiteneffekte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4000" y="2805766"/>
            <a:ext cx="10892857" cy="347787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&gt;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o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// Wirft ei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wenn der User ein Hacker ist.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//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st somit Teil des Control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ows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2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{</a:t>
            </a:r>
            <a:b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validNameException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Ändert eine </a:t>
            </a:r>
            <a:r>
              <a:rPr lang="de-DE" altLang="de-DE" sz="22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zvariable</a:t>
            </a:r>
            <a:r>
              <a:rPr lang="de-DE" altLang="de-DE" sz="22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ad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47196" y="2301765"/>
            <a:ext cx="4308149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2000" dirty="0">
                <a:ea typeface="Swagger" pitchFamily="2" charset="0"/>
              </a:rPr>
              <a:t>Beispiel für eine Funktion mit Seiteneffekten:</a:t>
            </a:r>
          </a:p>
        </p:txBody>
      </p:sp>
    </p:spTree>
    <p:extLst>
      <p:ext uri="{BB962C8B-B14F-4D97-AF65-F5344CB8AC3E}">
        <p14:creationId xmlns:p14="http://schemas.microsoft.com/office/powerpoint/2010/main" val="39504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ferentielle Transparenz?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ögliche Validierungsfehler werden in der Signatur explizit gemacht</a:t>
            </a:r>
            <a:endParaRPr lang="en-US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23005" y="1399242"/>
            <a:ext cx="11212401" cy="48320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User&gt;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Validation&lt;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epen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Eith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2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&lt;</a:t>
            </a:r>
            <a:r>
              <a:rPr lang="de-DE" altLang="de-DE" sz="22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ion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&gt;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User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.getName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quals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Hack0r"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{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validNameErro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ation.</a:t>
            </a:r>
            <a:r>
              <a:rPr kumimoji="0" lang="de-DE" altLang="de-DE" sz="22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2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ser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2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54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INT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50828</Template>
  <TotalTime>0</TotalTime>
  <Words>1370</Words>
  <Application>Microsoft Office PowerPoint</Application>
  <PresentationFormat>Benutzerdefiniert</PresentationFormat>
  <Paragraphs>324</Paragraphs>
  <Slides>4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61" baseType="lpstr">
      <vt:lpstr>Arial Unicode MS</vt:lpstr>
      <vt:lpstr>Arial</vt:lpstr>
      <vt:lpstr>Courier New</vt:lpstr>
      <vt:lpstr>Swagger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INT</vt:lpstr>
      <vt:lpstr>think-cell Folie</vt:lpstr>
      <vt:lpstr>Funktionale programmierung mit Vavr und Resilience4j </vt:lpstr>
      <vt:lpstr>Über mich</vt:lpstr>
      <vt:lpstr>WAS macht Funktionale programmierung aus?</vt:lpstr>
      <vt:lpstr>Komposition von FUNKTIONEN</vt:lpstr>
      <vt:lpstr>Was sind FUNKTIONEN höherer ORDNUNG?</vt:lpstr>
      <vt:lpstr>Was sind FUNKTIONEN höherer ORDNUNG?</vt:lpstr>
      <vt:lpstr>Was sind FUNKTIONEN höherer ORDNUNG?</vt:lpstr>
      <vt:lpstr>WAS ist Referentielle Transparenz? </vt:lpstr>
      <vt:lpstr>WAS ist Referentielle Transparenz? </vt:lpstr>
      <vt:lpstr>(PURE) Funktionen ohne Seiteneffekte</vt:lpstr>
      <vt:lpstr>Imperativ vs funktional: Seperation of CONCERNS</vt:lpstr>
      <vt:lpstr>Was sind persistente Datenstrukturen?</vt:lpstr>
      <vt:lpstr>Funktionale PROGRAMMIERUNG mit JAVA 8</vt:lpstr>
      <vt:lpstr>JAVASLANG IST nun VAVR</vt:lpstr>
      <vt:lpstr>Was ist VAVR?</vt:lpstr>
      <vt:lpstr>VAVR: persistente Datenstrukturen</vt:lpstr>
      <vt:lpstr>VAVR: persistente Datenstrukturen</vt:lpstr>
      <vt:lpstr>VAVR: persistente Datenstrukturen</vt:lpstr>
      <vt:lpstr>VAVR: Algebraische Datentypen    </vt:lpstr>
      <vt:lpstr>VAVR: TUPLES   </vt:lpstr>
      <vt:lpstr>VAVR: Try   </vt:lpstr>
      <vt:lpstr>VAVR: EITHER   </vt:lpstr>
      <vt:lpstr>VAVR: Option   </vt:lpstr>
      <vt:lpstr>VAVR: Lazy   </vt:lpstr>
      <vt:lpstr>VAVR: Functions - Currying </vt:lpstr>
      <vt:lpstr>VAVR: Functions - Memoization  </vt:lpstr>
      <vt:lpstr>VAVR: Functions - Lifting   </vt:lpstr>
      <vt:lpstr>VAVR: PATTERN MATCHING   </vt:lpstr>
      <vt:lpstr>VAVR: PATTERN MATCHING   </vt:lpstr>
      <vt:lpstr>VAVR: PATTERN MATCHING   </vt:lpstr>
      <vt:lpstr>Was ist Resilience4j?</vt:lpstr>
      <vt:lpstr>Resilience4j: CIRCUITBREAKER</vt:lpstr>
      <vt:lpstr>Resilience4j: CIRCUITBREAKER</vt:lpstr>
      <vt:lpstr>Resilience4j: FUNKTION höherer ORDNUNG</vt:lpstr>
      <vt:lpstr>Resilience4j: CIRCUITBREAKER METRICS</vt:lpstr>
      <vt:lpstr>Resilience4j: CIRCUITBREAKER EVENTS</vt:lpstr>
      <vt:lpstr>Resilience4j: CIRCUITBREAKER RXjava2</vt:lpstr>
      <vt:lpstr>Resilience4j: RETRY</vt:lpstr>
      <vt:lpstr>Resilience4j: Ratelimiter</vt:lpstr>
      <vt:lpstr>Resilience4j: Ratelimiter</vt:lpstr>
      <vt:lpstr>Resilience4j: BULKHEAD</vt:lpstr>
      <vt:lpstr>Resilience4j: TIMER</vt:lpstr>
      <vt:lpstr>Resilience4j: Spring Boot</vt:lpstr>
      <vt:lpstr>Resilience4j: Spring Boot – CONFIGURATION</vt:lpstr>
      <vt:lpstr>Resilience4j: Spring Boot – Health</vt:lpstr>
      <vt:lpstr>Resilience4j: Spring Boot – METRIKEN</vt:lpstr>
      <vt:lpstr>Resilience4j: Spring Boot – EVENTS</vt:lpstr>
      <vt:lpstr>PowerPoint-Prä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16:9</dc:title>
  <dc:creator>dtc102415</dc:creator>
  <cp:lastModifiedBy>Winkler, Robert</cp:lastModifiedBy>
  <cp:revision>492</cp:revision>
  <dcterms:created xsi:type="dcterms:W3CDTF">2016-08-19T15:43:19Z</dcterms:created>
  <dcterms:modified xsi:type="dcterms:W3CDTF">2017-08-24T08:08:05Z</dcterms:modified>
</cp:coreProperties>
</file>